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82" y="-1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1575" y="1244600"/>
            <a:ext cx="4465638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07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42852"/>
            <a:ext cx="8893652" cy="935534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МУНИЦИПАЛЬНЫХ ОБРАЗОВАНИЙ ПО УРОВНЮ ОТКРЫТОСТИ БЮДЖЕТНЫХ ДАННЫХ ЗА 2025 ГОД</a:t>
            </a: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275059" y="1048004"/>
            <a:ext cx="5290636" cy="4973284"/>
          </a:xfrm>
          <a:prstGeom prst="round2Diag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2 МО:</a:t>
            </a: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5841291" y="1048004"/>
            <a:ext cx="2736304" cy="3932373"/>
          </a:xfrm>
          <a:prstGeom prst="round2DiagRect">
            <a:avLst/>
          </a:prstGeom>
          <a:solidFill>
            <a:srgbClr val="FFC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МО:</a:t>
            </a: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лк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7" defTabSz="273071"/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xmlns="" id="{8946903D-030F-4668-A426-4EA5D5D87B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2613877"/>
              </p:ext>
            </p:extLst>
          </p:nvPr>
        </p:nvGraphicFramePr>
        <p:xfrm>
          <a:off x="275060" y="2443251"/>
          <a:ext cx="5290636" cy="2813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2292">
                  <a:extLst>
                    <a:ext uri="{9D8B030D-6E8A-4147-A177-3AD203B41FA5}">
                      <a16:colId xmlns:a16="http://schemas.microsoft.com/office/drawing/2014/main" xmlns="" val="2363133270"/>
                    </a:ext>
                  </a:extLst>
                </a:gridCol>
                <a:gridCol w="2588344">
                  <a:extLst>
                    <a:ext uri="{9D8B030D-6E8A-4147-A177-3AD203B41FA5}">
                      <a16:colId xmlns:a16="http://schemas.microsoft.com/office/drawing/2014/main" xmlns="" val="2932699012"/>
                    </a:ext>
                  </a:extLst>
                </a:gridCol>
              </a:tblGrid>
              <a:tr h="281339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3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ександрово</a:t>
                      </a:r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Заводский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ей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байкальский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лар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ым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каменск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ыр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гойтуй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гоч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овянн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о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  <a:defRPr/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тровск-Забайкальский</a:t>
                      </a:r>
                      <a:r>
                        <a:rPr lang="ru-RU" sz="12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аргунский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тенск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нгокоче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нгиро-Олёкм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ётовский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лопугин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илокски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 Агинское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Чита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  <a:tabLst>
                          <a:tab pos="265113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 Горный ЗАТО</a:t>
                      </a:r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30363259"/>
                  </a:ext>
                </a:extLst>
              </a:tr>
            </a:tbl>
          </a:graphicData>
        </a:graphic>
      </p:graphicFrame>
      <p:sp>
        <p:nvSpPr>
          <p:cNvPr id="14" name="Прямоугольник с двумя скругленными противолежащими углами 16">
            <a:extLst>
              <a:ext uri="{FF2B5EF4-FFF2-40B4-BE49-F238E27FC236}">
                <a16:creationId xmlns:a16="http://schemas.microsoft.com/office/drawing/2014/main" xmlns="" id="{87F62651-9D85-4EF9-B2BE-E5443B743FBD}"/>
              </a:ext>
            </a:extLst>
          </p:cNvPr>
          <p:cNvSpPr/>
          <p:nvPr/>
        </p:nvSpPr>
        <p:spPr>
          <a:xfrm>
            <a:off x="5565695" y="5256648"/>
            <a:ext cx="3436581" cy="1058743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МО</a:t>
            </a: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0</TotalTime>
  <Words>71</Words>
  <Application>Microsoft Office PowerPoint</Application>
  <PresentationFormat>Экран (4:3)</PresentationFormat>
  <Paragraphs>56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Тема Office</vt:lpstr>
      <vt:lpstr>think-cell Slide</vt:lpstr>
      <vt:lpstr>РЕЙТИНГ МУНИЦИПАЛЬНЫХ ОБРАЗОВАНИЙ ПО УРОВНЮ ОТКРЫТОСТИ БЮДЖЕТНЫХ ДАННЫХ ЗА 2025 ГОД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User</cp:lastModifiedBy>
  <cp:revision>32</cp:revision>
  <cp:lastPrinted>2025-08-13T00:29:23Z</cp:lastPrinted>
  <dcterms:created xsi:type="dcterms:W3CDTF">2022-06-27T05:53:54Z</dcterms:created>
  <dcterms:modified xsi:type="dcterms:W3CDTF">2026-05-07T03:26:10Z</dcterms:modified>
</cp:coreProperties>
</file>